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omments/modernComment_142_70EFA52C.xml" ContentType="application/vnd.ms-powerpoint.comments+xml"/>
  <Override PartName="/ppt/notesSlides/notesSlide4.xml" ContentType="application/vnd.openxmlformats-officedocument.presentationml.notesSlide+xml"/>
  <Override PartName="/ppt/comments/modernComment_146_14F0DC7B.xml" ContentType="application/vnd.ms-powerpoint.comments+xml"/>
  <Override PartName="/ppt/tags/tag29.xml" ContentType="application/vnd.openxmlformats-officedocument.presentationml.tags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4"/>
  </p:sldMasterIdLst>
  <p:notesMasterIdLst>
    <p:notesMasterId r:id="rId29"/>
  </p:notesMasterIdLst>
  <p:handoutMasterIdLst>
    <p:handoutMasterId r:id="rId30"/>
  </p:handoutMasterIdLst>
  <p:sldIdLst>
    <p:sldId id="321" r:id="rId5"/>
    <p:sldId id="2145705986" r:id="rId6"/>
    <p:sldId id="304" r:id="rId7"/>
    <p:sldId id="331" r:id="rId8"/>
    <p:sldId id="2145705993" r:id="rId9"/>
    <p:sldId id="330" r:id="rId10"/>
    <p:sldId id="322" r:id="rId11"/>
    <p:sldId id="323" r:id="rId12"/>
    <p:sldId id="333" r:id="rId13"/>
    <p:sldId id="334" r:id="rId14"/>
    <p:sldId id="328" r:id="rId15"/>
    <p:sldId id="324" r:id="rId16"/>
    <p:sldId id="325" r:id="rId17"/>
    <p:sldId id="326" r:id="rId18"/>
    <p:sldId id="327" r:id="rId19"/>
    <p:sldId id="2145705988" r:id="rId20"/>
    <p:sldId id="2145705991" r:id="rId21"/>
    <p:sldId id="2145705990" r:id="rId22"/>
    <p:sldId id="2145705994" r:id="rId23"/>
    <p:sldId id="2145705995" r:id="rId24"/>
    <p:sldId id="2145705996" r:id="rId25"/>
    <p:sldId id="2145705997" r:id="rId26"/>
    <p:sldId id="2145705999" r:id="rId27"/>
    <p:sldId id="2145705998" r:id="rId28"/>
  </p:sldIdLst>
  <p:sldSz cx="12192000" cy="6858000"/>
  <p:notesSz cx="6858000" cy="9144000"/>
  <p:custDataLst>
    <p:tags r:id="rId3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EEBD3E2-97E6-CAEB-86B1-69BC6164B7B5}" name="Nguyen Quang" initials="NQ" userId="d2b558059f8b0bf4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E3E2"/>
    <a:srgbClr val="F300D6"/>
    <a:srgbClr val="9A07CB"/>
    <a:srgbClr val="00467F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82C73F9-F873-4F61-86BC-57A8684397C3}" v="10" dt="2024-05-28T06:23:51.31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>
        <p:scale>
          <a:sx n="75" d="100"/>
          <a:sy n="75" d="100"/>
        </p:scale>
        <p:origin x="139" y="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presProps" Target="presProps.xml"/><Relationship Id="rId37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/Relationships>
</file>

<file path=ppt/comments/modernComment_142_70EFA52C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F3ED3929-4450-4419-80F9-97698AD45EE1}" authorId="{2EEBD3E2-97E6-CAEB-86B1-69BC6164B7B5}" created="2024-07-02T06:44:08.679">
    <pc:sldMkLst xmlns:pc="http://schemas.microsoft.com/office/powerpoint/2013/main/command">
      <pc:docMk/>
      <pc:sldMk cId="1894753580" sldId="322"/>
    </pc:sldMkLst>
    <p188:pos x="4565650" y="3413125"/>
    <p188:txBody>
      <a:bodyPr/>
      <a:lstStyle/>
      <a:p>
        <a:r>
          <a:rPr lang="en-US"/>
          <a:t>1. Query list folder : 
select * from folder 
where owner_id = 1</a:t>
        </a:r>
      </a:p>
    </p188:txBody>
  </p188:cm>
  <p188:cm id="{42745475-2FA0-4D14-AA0D-AFBD82698FAD}" authorId="{2EEBD3E2-97E6-CAEB-86B1-69BC6164B7B5}" created="2024-07-02T06:54:00.529">
    <pc:sldMkLst xmlns:pc="http://schemas.microsoft.com/office/powerpoint/2013/main/command">
      <pc:docMk/>
      <pc:sldMk cId="1894753580" sldId="322"/>
    </pc:sldMkLst>
    <p188:pos x="4556125" y="4937125"/>
    <p188:txBody>
      <a:bodyPr/>
      <a:lstStyle/>
      <a:p>
        <a:r>
          <a:rPr lang="en-US"/>
          <a:t>2. Query list asset 
select * from asset
	where owner_id=1
</a:t>
        </a:r>
      </a:p>
    </p188:txBody>
  </p188:cm>
  <p188:cm id="{6EB11766-D45E-4C39-A7FB-5CFADED36057}" authorId="{2EEBD3E2-97E6-CAEB-86B1-69BC6164B7B5}" created="2024-07-02T07:07:18.040">
    <pc:sldMkLst xmlns:pc="http://schemas.microsoft.com/office/powerpoint/2013/main/command">
      <pc:docMk/>
      <pc:sldMk cId="1894753580" sldId="322"/>
    </pc:sldMkLst>
    <p188:pos x="8915400" y="1584325"/>
    <p188:txBody>
      <a:bodyPr/>
      <a:lstStyle/>
      <a:p>
        <a:r>
          <a:rPr lang="en-US"/>
          <a:t>3. query used capacity
select sum(asset_size) from asset 
	where owner_id=1</a:t>
        </a:r>
      </a:p>
    </p188:txBody>
  </p188:cm>
  <p188:cm id="{422D48C6-3FD5-43D2-8D74-3FE7D3805692}" authorId="{2EEBD3E2-97E6-CAEB-86B1-69BC6164B7B5}" created="2024-07-02T07:18:12.947">
    <pc:sldMkLst xmlns:pc="http://schemas.microsoft.com/office/powerpoint/2013/main/command">
      <pc:docMk/>
      <pc:sldMk cId="1894753580" sldId="322"/>
    </pc:sldMkLst>
    <p188:pos x="9420225" y="3587750"/>
    <p188:txBody>
      <a:bodyPr/>
      <a:lstStyle/>
      <a:p>
        <a:r>
          <a:rPr lang="en-US"/>
          <a:t>Sum image size : 
	SELECT 
    SUM(A.asset_size) AS total_image_size
FROM 
    asset A
JOIN 
    asset_type AT ON A.asset_type_id = AT.asset_type_id
WHERE 
    AT.name = 'Image';
GO</a:t>
        </a:r>
      </a:p>
    </p188:txBody>
  </p188:cm>
  <p188:cm id="{696BFFF9-90A7-4714-9E80-092645C6B64E}" authorId="{2EEBD3E2-97E6-CAEB-86B1-69BC6164B7B5}" created="2024-07-02T07:32:56.981">
    <pc:sldMkLst xmlns:pc="http://schemas.microsoft.com/office/powerpoint/2013/main/command">
      <pc:docMk/>
      <pc:sldMk cId="1894753580" sldId="322"/>
    </pc:sldMkLst>
    <p188:pos x="9331325" y="2863850"/>
    <p188:txBody>
      <a:bodyPr/>
      <a:lstStyle/>
      <a:p>
        <a:r>
          <a:rPr lang="en-US"/>
          <a:t>4.Document_size: 
SELECT 
    SUM(A.asset_size) AS total_documents_size
FROM 
    asset A
JOIN 
    asset_type AT ON A.asset_type_id = AT.asset_type_id
WHERE 
    AT.name = 'Document';
GO</a:t>
        </a:r>
      </a:p>
    </p188:txBody>
  </p188:cm>
  <p188:cm id="{AAEAD760-2DEC-4A3D-8D06-65D65994B5E8}" authorId="{2EEBD3E2-97E6-CAEB-86B1-69BC6164B7B5}" created="2024-07-02T07:46:59.807">
    <pc:sldMkLst xmlns:pc="http://schemas.microsoft.com/office/powerpoint/2013/main/command">
      <pc:docMk/>
      <pc:sldMk cId="1894753580" sldId="322"/>
    </pc:sldMkLst>
    <p188:pos x="9382125" y="3168650"/>
    <p188:txBody>
      <a:bodyPr/>
      <a:lstStyle/>
      <a:p>
        <a:r>
          <a:rPr lang="en-US"/>
          <a:t>5. Videos size
-- video size
SELECT 
    SUM(A.asset_size) AS total_videos_size
FROM 
    asset A
JOIN 
    asset_type AT ON A.asset_type_id = AT.asset_type_id
WHERE 
    AT.name = 'Video';
GO</a:t>
        </a:r>
      </a:p>
    </p188:txBody>
  </p188:cm>
</p188:cmLst>
</file>

<file path=ppt/comments/modernComment_146_14F0DC7B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106767D5-237C-4C6E-9288-EF0A731F67A9}" authorId="{2EEBD3E2-97E6-CAEB-86B1-69BC6164B7B5}" created="2024-07-02T09:19:39.044">
    <pc:sldMkLst xmlns:pc="http://schemas.microsoft.com/office/powerpoint/2013/main/command">
      <pc:docMk/>
      <pc:sldMk cId="351329403" sldId="326"/>
    </pc:sldMkLst>
    <p188:pos x="8610600" y="3282950"/>
    <p188:txBody>
      <a:bodyPr/>
      <a:lstStyle/>
      <a:p>
        <a:r>
          <a:rPr lang="en-US"/>
          <a:t>1. User comment
SELECT c.comment_id, c.asset_id, c.content, c.created_at
FROM Comment c
JOIN [User] u ON c.user_id = u.user_id
WHERE u.user_id = 1
ORDER BY c.created_at DESC;</a:t>
        </a:r>
      </a:p>
    </p188:txBody>
  </p188:cm>
  <p188:cm id="{6A0145FB-593B-4035-AE48-12A9EAA2AEC2}" authorId="{2EEBD3E2-97E6-CAEB-86B1-69BC6164B7B5}" created="2024-07-02T09:20:04.156">
    <pc:sldMkLst xmlns:pc="http://schemas.microsoft.com/office/powerpoint/2013/main/command">
      <pc:docMk/>
      <pc:sldMk cId="351329403" sldId="326"/>
    </pc:sldMkLst>
    <p188:pos x="8934450" y="2286000"/>
    <p188:txBody>
      <a:bodyPr/>
      <a:lstStyle/>
      <a:p>
        <a:r>
          <a:rPr lang="en-US"/>
          <a:t>2. List comment
SELECT c.comment_id, c.user_id, u.username AS user_name, c.content, c.created_at
FROM Comment c
JOIN [User] u ON c.user_id = u.user_id
WHERE c.asset_id = asset_id
ORDER BY c.created_at DESC;</a:t>
        </a:r>
      </a:p>
    </p188:txBody>
  </p188:cm>
</p188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904110-CA28-333E-2C34-1D6898DC0F0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78BA21-CD2F-EE12-5978-472132E8FF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5959A-AE8E-4098-8E47-081D9FE6ACD1}" type="datetimeFigureOut">
              <a:rPr lang="en-GB" smtClean="0"/>
              <a:t>02/07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0F835B-6669-0F4A-D3F6-4284B75B49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F16185-AADD-6E7A-A4FC-A558DFE03E0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9649B8-B442-4509-AEA1-C442A31137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35219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82F50848-CCE2-4F33-8910-F863336B6EB2}" type="datetimeFigureOut">
              <a:rPr lang="de-CH" smtClean="0"/>
              <a:pPr/>
              <a:t>02.07.2024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6A4FF178-7F5C-4C53-AC97-DF4205D97146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55230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904938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878461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hỗ dành sẵn cho Hình ảnh của Bản chiế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Chỗ dành sẵn cho Ghi chú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  <a:p>
            <a:endParaRPr lang="en-US"/>
          </a:p>
        </p:txBody>
      </p:sp>
      <p:sp>
        <p:nvSpPr>
          <p:cNvPr id="4" name="Chỗ dành sẵn cho Số hiệu Bản chiế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497344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hỗ dành sẵn cho Hình ảnh của Bản chiế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Chỗ dành sẵn cho Ghi chú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       </a:t>
            </a:r>
          </a:p>
        </p:txBody>
      </p:sp>
      <p:sp>
        <p:nvSpPr>
          <p:cNvPr id="4" name="Chỗ dành sẵn cho Số hiệu Bản chiế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646177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53496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792971C-5B5B-A6FA-F013-3425E23F0398}"/>
              </a:ext>
            </a:extLst>
          </p:cNvPr>
          <p:cNvGrpSpPr/>
          <p:nvPr userDrawn="1"/>
        </p:nvGrpSpPr>
        <p:grpSpPr>
          <a:xfrm>
            <a:off x="2351237" y="3370961"/>
            <a:ext cx="7489526" cy="1214079"/>
            <a:chOff x="2351237" y="4661428"/>
            <a:chExt cx="7489526" cy="1214079"/>
          </a:xfrm>
          <a:solidFill>
            <a:schemeClr val="bg1"/>
          </a:solidFill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C4000F00-176B-F700-F10A-6EE4FA8D752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351237" y="4661428"/>
              <a:ext cx="7489526" cy="432000"/>
            </a:xfrm>
            <a:prstGeom prst="rect">
              <a:avLst/>
            </a:prstGeom>
          </p:spPr>
        </p:pic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2E4C65FC-40D0-028A-67FF-E45E9578E31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362923" y="5641507"/>
              <a:ext cx="5466154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8544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0587211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orient="horz" pos="1359" userDrawn="1">
          <p15:clr>
            <a:srgbClr val="FBAE40"/>
          </p15:clr>
        </p15:guide>
        <p15:guide id="22" pos="3568" userDrawn="1">
          <p15:clr>
            <a:srgbClr val="FBAE40"/>
          </p15:clr>
        </p15:guide>
        <p15:guide id="23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2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6155744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039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39D5703-BD1C-3A16-A4A7-30E0EE62B04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8285287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828655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6092407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492" userDrawn="1">
          <p15:clr>
            <a:srgbClr val="FBAE40"/>
          </p15:clr>
        </p15:guide>
        <p15:guide id="24" pos="576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ext with 1/3 image + white space fo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36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57B48F4-BDD6-6F20-ED74-A0F80415BF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81425" y="5131789"/>
            <a:ext cx="3178576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3853468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162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2157413"/>
            <a:ext cx="3928356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8" y="1530000"/>
            <a:ext cx="3928356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7C43C1D-0D5A-3546-923A-9906F73102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355" y="2157413"/>
            <a:ext cx="3924931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5734A7E-A371-8589-95F1-486EF3BDC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2355" y="1530000"/>
            <a:ext cx="392493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5B0D54-9E65-6676-5BE0-B1EC73550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153228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9" orient="horz" pos="963" userDrawn="1">
          <p15:clr>
            <a:srgbClr val="FBAE40"/>
          </p15:clr>
        </p15:guide>
        <p15:guide id="20" pos="270" userDrawn="1">
          <p15:clr>
            <a:srgbClr val="FBAE40"/>
          </p15:clr>
        </p15:guide>
        <p15:guide id="21" orient="horz" pos="692" userDrawn="1">
          <p15:clr>
            <a:srgbClr val="FBAE40"/>
          </p15:clr>
        </p15:guide>
        <p15:guide id="22" orient="horz" pos="4049" userDrawn="1">
          <p15:clr>
            <a:srgbClr val="FBAE40"/>
          </p15:clr>
        </p15:guide>
        <p15:guide id="23" orient="horz" pos="1359" userDrawn="1">
          <p15:clr>
            <a:srgbClr val="FBAE40"/>
          </p15:clr>
        </p15:guide>
        <p15:guide id="24" pos="5490" userDrawn="1">
          <p15:clr>
            <a:srgbClr val="FBAE40"/>
          </p15:clr>
        </p15:guide>
        <p15:guide id="25" pos="5760" userDrawn="1">
          <p15:clr>
            <a:srgbClr val="FBAE40"/>
          </p15:clr>
        </p15:guide>
        <p15:guide id="26" pos="3018" userDrawn="1">
          <p15:clr>
            <a:srgbClr val="FBAE40"/>
          </p15:clr>
        </p15:guide>
        <p15:guide id="27" pos="274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63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9187" y="1528763"/>
            <a:ext cx="5232602" cy="48960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7" name="Text Placeholder 38">
            <a:extLst>
              <a:ext uri="{FF2B5EF4-FFF2-40B4-BE49-F238E27FC236}">
                <a16:creationId xmlns:a16="http://schemas.microsoft.com/office/drawing/2014/main" id="{6E9374FC-ECE4-7A38-5807-87AE94A088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001" y="4365382"/>
            <a:ext cx="4798800" cy="2062406"/>
          </a:xfrm>
          <a:solidFill>
            <a:schemeClr val="tx2">
              <a:alpha val="85000"/>
            </a:schemeClr>
          </a:solidFill>
        </p:spPr>
        <p:txBody>
          <a:bodyPr lIns="288000" tIns="288000" rIns="288000" bIns="288000" anchor="b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4" name="Text Placeholder 43">
            <a:extLst>
              <a:ext uri="{FF2B5EF4-FFF2-40B4-BE49-F238E27FC236}">
                <a16:creationId xmlns:a16="http://schemas.microsoft.com/office/drawing/2014/main" id="{38EE8FDF-DB06-4651-3389-787CA10E77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4001" y="4238556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77" name="Text Placeholder 43">
            <a:extLst>
              <a:ext uri="{FF2B5EF4-FFF2-40B4-BE49-F238E27FC236}">
                <a16:creationId xmlns:a16="http://schemas.microsoft.com/office/drawing/2014/main" id="{9A496C9E-D567-76DE-1404-D4A0596855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 flipV="1">
            <a:off x="5374801" y="6292522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498870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6" pos="3840">
          <p15:clr>
            <a:srgbClr val="FBAE40"/>
          </p15:clr>
        </p15:guide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pos="41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 with imag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44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194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3475239"/>
            <a:ext cx="11329789" cy="295254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FF00CA-6EEE-1446-767F-22A63CDAED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68109393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1916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218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 slide / full-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345F9D-58D8-A03C-2C14-3C466D3CB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68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345F9D-58D8-A03C-2C14-3C466D3CB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4414B2E-C340-9140-1BD1-92410CBF7B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9765689A-1419-4CD4-170E-F5C60B6417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098000"/>
            <a:ext cx="8640000" cy="1487991"/>
          </a:xfrm>
          <a:solidFill>
            <a:schemeClr val="tx2">
              <a:alpha val="85000"/>
            </a:schemeClr>
          </a:solidFill>
        </p:spPr>
        <p:txBody>
          <a:bodyPr wrap="square" lIns="432000" tIns="432000" rIns="432000" bIns="432000" anchor="t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40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Text, 40pt</a:t>
            </a:r>
          </a:p>
        </p:txBody>
      </p:sp>
      <p:sp>
        <p:nvSpPr>
          <p:cNvPr id="15" name="Text Placeholder 43">
            <a:extLst>
              <a:ext uri="{FF2B5EF4-FFF2-40B4-BE49-F238E27FC236}">
                <a16:creationId xmlns:a16="http://schemas.microsoft.com/office/drawing/2014/main" id="{8E425FDA-ACD2-D989-043B-F820E6AB51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41432" y="172618"/>
            <a:ext cx="1350568" cy="68436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2567951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3" pos="270" userDrawn="1">
          <p15:clr>
            <a:srgbClr val="FBAE40"/>
          </p15:clr>
        </p15:guide>
        <p15:guide id="4" pos="571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29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B1008097-4228-1AEA-6834-837AEB6C76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34813706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0" pos="270" userDrawn="1">
          <p15:clr>
            <a:srgbClr val="FBAE40"/>
          </p15:clr>
        </p15:guide>
        <p15:guide id="11" orient="horz" pos="69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140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6136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2298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6136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2298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2CF4B-8A3C-13FA-BECD-9DB01F4A6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3046461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4666033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6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75FA654-6B49-780A-BFB4-222C9877472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5842F8D1-C8E7-B7F7-193F-396D7F0C1F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F7ED4793-8249-B71F-2BD9-1E188E5895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01AD36-B7B0-8DA3-E4DF-7B92563C3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187357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11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01BDA65-4A3A-8C7F-6D57-257CEA15EDA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822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822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B19CB6E8-97CB-822F-3F85-A7275483C4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0847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6" name="Text Placeholder 43">
            <a:extLst>
              <a:ext uri="{FF2B5EF4-FFF2-40B4-BE49-F238E27FC236}">
                <a16:creationId xmlns:a16="http://schemas.microsoft.com/office/drawing/2014/main" id="{2EF03F68-E44D-2D1B-E3CF-23E57CD8AC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0847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F69C67C-E89D-2384-2449-3AE3B29A56D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43">
            <a:extLst>
              <a:ext uri="{FF2B5EF4-FFF2-40B4-BE49-F238E27FC236}">
                <a16:creationId xmlns:a16="http://schemas.microsoft.com/office/drawing/2014/main" id="{4675A820-B82C-20ED-4FD7-8096B1F92A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DF422E5E-8133-BB32-C099-047DCCC162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B07921-E735-F94C-40EB-71F2AF0C4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09191098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5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01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05696C37-BDF4-2F3D-603C-E1844610595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C418BE-D8E0-8035-E432-74FD98A897B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99175D0A-6D9D-DBBC-30F3-D0FC5D29CD3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43">
            <a:extLst>
              <a:ext uri="{FF2B5EF4-FFF2-40B4-BE49-F238E27FC236}">
                <a16:creationId xmlns:a16="http://schemas.microsoft.com/office/drawing/2014/main" id="{70D8A088-B7AE-9853-F92D-69BFEFB60E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1" name="Text Placeholder 43">
            <a:extLst>
              <a:ext uri="{FF2B5EF4-FFF2-40B4-BE49-F238E27FC236}">
                <a16:creationId xmlns:a16="http://schemas.microsoft.com/office/drawing/2014/main" id="{101E0012-1AFC-2117-1AFF-131E7D68BC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2" name="Text Placeholder 43">
            <a:extLst>
              <a:ext uri="{FF2B5EF4-FFF2-40B4-BE49-F238E27FC236}">
                <a16:creationId xmlns:a16="http://schemas.microsoft.com/office/drawing/2014/main" id="{76B9F0EE-35D9-4F4C-DF19-6F1329686F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290CBF69-D6CA-7FA4-2148-5B01F5233D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F30F8F33-E146-584B-B117-177763926F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3AD48AD-2E9D-CCFA-CC34-50B41218A9B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3CFFEEC3-C7DF-AE66-30A4-4911FF001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AF0EB9D8-DAFE-F2BB-AAEB-93E5A6FCF4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8150DEEE-F1C8-412C-9A41-9C6A1510A4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532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2" name="Text Placeholder 43">
            <a:extLst>
              <a:ext uri="{FF2B5EF4-FFF2-40B4-BE49-F238E27FC236}">
                <a16:creationId xmlns:a16="http://schemas.microsoft.com/office/drawing/2014/main" id="{C0E9FEFA-5AB3-30A2-24C9-3AC8326327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32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4" name="Text Placeholder 43">
            <a:extLst>
              <a:ext uri="{FF2B5EF4-FFF2-40B4-BE49-F238E27FC236}">
                <a16:creationId xmlns:a16="http://schemas.microsoft.com/office/drawing/2014/main" id="{7FA20DE0-E4E7-6C95-C8AA-55B9BE2AE5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545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5" name="Text Placeholder 43">
            <a:extLst>
              <a:ext uri="{FF2B5EF4-FFF2-40B4-BE49-F238E27FC236}">
                <a16:creationId xmlns:a16="http://schemas.microsoft.com/office/drawing/2014/main" id="{BC1BB4AA-BCDE-6809-1034-93EE2784F5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545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4B36-92F3-CCD6-D942-4A1C8BE3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2645210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37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2E005BC1-0A00-6A3F-9AB9-2090FB403C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5998" y="2016000"/>
            <a:ext cx="5255944" cy="301878"/>
          </a:xfrm>
        </p:spPr>
        <p:txBody>
          <a:bodyPr>
            <a:noAutofit/>
          </a:bodyPr>
          <a:lstStyle>
            <a:lvl1pPr marL="0" indent="0" rtl="0">
              <a:lnSpc>
                <a:spcPct val="120000"/>
              </a:lnSpc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5998" y="1520825"/>
            <a:ext cx="525594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BE14B7E-1369-C17A-8857-D645DEE0E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55998" y="2847527"/>
            <a:ext cx="5255944" cy="113966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ompany address on three lines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55998" y="4535936"/>
            <a:ext cx="5255944" cy="189185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E503F-5E60-20CF-7913-904004C1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4707283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576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4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5AC5C679-4332-8618-78DC-64B8D168617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44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16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44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2000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16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1658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146B3A-75B7-5620-B3DF-822D076AD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3298722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6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013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1999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1999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6100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6100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D97310F-BF77-3052-7D5F-521AE85495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8813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A03D3B0-D87F-65E2-20D2-2E3D4FC53E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AC0C46D-924E-6086-ABF8-9C7B8618C2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8813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DE75E8A5-8070-B311-99AA-D3C4B3C392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78813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BE829B-D1F1-110E-2A2D-99BA9886B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10717659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9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34605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475" indent="-625475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475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114092815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 userDrawn="1">
          <p15:clr>
            <a:srgbClr val="FBAE40"/>
          </p15:clr>
        </p15:guide>
        <p15:guide id="9" pos="270" userDrawn="1">
          <p15:clr>
            <a:srgbClr val="FBAE40"/>
          </p15:clr>
        </p15:guide>
        <p15:guide id="10" pos="3839" userDrawn="1">
          <p15:clr>
            <a:srgbClr val="FBAE40"/>
          </p15:clr>
        </p15:guide>
        <p15:guide id="11" orient="horz" pos="4047" userDrawn="1">
          <p15:clr>
            <a:srgbClr val="FBAE40"/>
          </p15:clr>
        </p15:guide>
        <p15:guide id="12" orient="horz" pos="963" userDrawn="1">
          <p15:clr>
            <a:srgbClr val="FBAE40"/>
          </p15:clr>
        </p15:guide>
        <p15:guide id="13" pos="35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23631067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1528763"/>
            <a:ext cx="11329200" cy="48990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87379739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587"/>
            <a:ext cx="113292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11329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69886104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00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5447999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447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00" y="2160587"/>
            <a:ext cx="5449788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2000" y="1530000"/>
            <a:ext cx="5449788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578478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963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1359" userDrawn="1">
          <p15:clr>
            <a:srgbClr val="FBAE40"/>
          </p15:clr>
        </p15:guide>
        <p15:guide id="21" pos="3974" userDrawn="1">
          <p15:clr>
            <a:srgbClr val="FBAE40"/>
          </p15:clr>
        </p15:guide>
        <p15:guide id="22" pos="370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82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98978999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210" userDrawn="1">
          <p15:clr>
            <a:srgbClr val="FBAE40"/>
          </p15:clr>
        </p15:guide>
        <p15:guide id="24" pos="4940" userDrawn="1">
          <p15:clr>
            <a:srgbClr val="FBAE40"/>
          </p15:clr>
        </p15:guide>
        <p15:guide id="25" pos="2740" userDrawn="1">
          <p15:clr>
            <a:srgbClr val="FBAE40"/>
          </p15:clr>
        </p15:guide>
        <p15:guide id="26" pos="247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75058B-0DA5-BCC2-2884-A3AA6637B8D8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00780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06" imgH="306" progId="TCLayout.ActiveDocument.1">
                  <p:embed/>
                </p:oleObj>
              </mc:Choice>
              <mc:Fallback>
                <p:oleObj name="think-cell Slide" r:id="rId28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075058B-0DA5-BCC2-2884-A3AA6637B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2B6DD6-B6DA-4A3B-AA01-32E0D7927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9B469-A741-AADC-88BD-759DB5D44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D0CF3-0723-425A-205C-484322D633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>
              <a:defRPr sz="1000">
                <a:solidFill>
                  <a:schemeClr val="bg2"/>
                </a:solidFill>
              </a:defRPr>
            </a:lvl1pPr>
          </a:lstStyle>
          <a:p>
            <a:endParaRPr lang="en-GB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31C2-6712-205D-6768-F1C229CF0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rtl="0">
              <a:defRPr sz="1000">
                <a:solidFill>
                  <a:schemeClr val="bg2"/>
                </a:solidFill>
              </a:defRPr>
            </a:lvl1pPr>
          </a:lstStyle>
          <a:p>
            <a:fld id="{97B27895-1833-42C6-927E-7C9AD7EEEA97}" type="slidenum">
              <a:rPr lang="en-GB" noProof="0" smtClean="0"/>
              <a:pPr/>
              <a:t>‹#›</a:t>
            </a:fld>
            <a:endParaRPr lang="en-GB" noProof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85608BD-05B9-34D2-34A7-A5AF7917B1E7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1021614" y="352800"/>
            <a:ext cx="738385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37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706" r:id="rId5"/>
    <p:sldLayoutId id="2147483709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7" r:id="rId24"/>
    <p:sldLayoutId id="2147483708" r:id="rId25"/>
  </p:sldLayoutIdLst>
  <p:transition spd="slow">
    <p:push dir="u"/>
  </p:transition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microsoft.com/office/2018/10/relationships/comments" Target="../comments/modernComment_146_14F0DC7B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g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g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9.xml"/><Relationship Id="rId6" Type="http://schemas.openxmlformats.org/officeDocument/2006/relationships/image" Target="../media/image3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8.x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42_70EFA52C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8.jp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1366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ộp Văn bản 3">
            <a:extLst>
              <a:ext uri="{FF2B5EF4-FFF2-40B4-BE49-F238E27FC236}">
                <a16:creationId xmlns:a16="http://schemas.microsoft.com/office/drawing/2014/main" id="{3CC64351-3144-5D8F-2FB9-725064F25248}"/>
              </a:ext>
            </a:extLst>
          </p:cNvPr>
          <p:cNvSpPr txBox="1"/>
          <p:nvPr/>
        </p:nvSpPr>
        <p:spPr>
          <a:xfrm>
            <a:off x="135384" y="224584"/>
            <a:ext cx="6094520" cy="3942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FF0000"/>
                </a:solidFill>
              </a:rPr>
              <a:t>Create new</a:t>
            </a:r>
            <a:endParaRPr lang="en-US" dirty="0" err="1">
              <a:solidFill>
                <a:srgbClr val="FF0000"/>
              </a:solidFill>
            </a:endParaRPr>
          </a:p>
        </p:txBody>
      </p:sp>
      <p:pic>
        <p:nvPicPr>
          <p:cNvPr id="3" name="Hình ảnh 2" descr="Ảnh có chứa văn bản, phần mềm, Biểu tượng máy tính, Trang web&#10;&#10;Mô tả được tạo tự động">
            <a:extLst>
              <a:ext uri="{FF2B5EF4-FFF2-40B4-BE49-F238E27FC236}">
                <a16:creationId xmlns:a16="http://schemas.microsoft.com/office/drawing/2014/main" id="{92E4344A-DB85-4B40-2F8F-DD736E93F15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8150" y="0"/>
            <a:ext cx="7296713" cy="6815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8673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ộp Văn bản 3">
            <a:extLst>
              <a:ext uri="{FF2B5EF4-FFF2-40B4-BE49-F238E27FC236}">
                <a16:creationId xmlns:a16="http://schemas.microsoft.com/office/drawing/2014/main" id="{87472EEB-59DC-2C17-0808-89286E419660}"/>
              </a:ext>
            </a:extLst>
          </p:cNvPr>
          <p:cNvSpPr txBox="1"/>
          <p:nvPr/>
        </p:nvSpPr>
        <p:spPr>
          <a:xfrm>
            <a:off x="116890" y="206828"/>
            <a:ext cx="6094520" cy="3942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FF0000"/>
                </a:solidFill>
              </a:rPr>
              <a:t>Create folder</a:t>
            </a:r>
            <a:endParaRPr lang="en-US" dirty="0" err="1">
              <a:solidFill>
                <a:srgbClr val="FF0000"/>
              </a:solidFill>
            </a:endParaRPr>
          </a:p>
        </p:txBody>
      </p:sp>
      <p:pic>
        <p:nvPicPr>
          <p:cNvPr id="3" name="Hình ảnh 2" descr="Ảnh có chứa văn bản, ảnh chụp màn hình, phần mềm, Biểu tượng máy tính&#10;&#10;Mô tả được tạo tự động">
            <a:extLst>
              <a:ext uri="{FF2B5EF4-FFF2-40B4-BE49-F238E27FC236}">
                <a16:creationId xmlns:a16="http://schemas.microsoft.com/office/drawing/2014/main" id="{C3683B29-2C8E-1849-A6C6-C92096B22C6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4803" y="0"/>
            <a:ext cx="734239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3184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ộp Văn bản 1">
            <a:extLst>
              <a:ext uri="{FF2B5EF4-FFF2-40B4-BE49-F238E27FC236}">
                <a16:creationId xmlns:a16="http://schemas.microsoft.com/office/drawing/2014/main" id="{21508D62-C81E-CB7A-57D9-81D0E1FE1A55}"/>
              </a:ext>
            </a:extLst>
          </p:cNvPr>
          <p:cNvSpPr txBox="1"/>
          <p:nvPr/>
        </p:nvSpPr>
        <p:spPr>
          <a:xfrm>
            <a:off x="346229" y="142043"/>
            <a:ext cx="2476870" cy="59480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FF0000"/>
                </a:solidFill>
              </a:rPr>
              <a:t>Home page- pop up </a:t>
            </a:r>
            <a:endParaRPr lang="en-US" dirty="0" err="1">
              <a:solidFill>
                <a:srgbClr val="FF0000"/>
              </a:solidFill>
            </a:endParaRPr>
          </a:p>
        </p:txBody>
      </p:sp>
      <p:pic>
        <p:nvPicPr>
          <p:cNvPr id="4" name="Hình ảnh 3" descr="Ảnh có chứa văn bản, ảnh chụp màn hình, phần mềm, Biểu tượng máy tính&#10;&#10;Mô tả được tạo tự động">
            <a:extLst>
              <a:ext uri="{FF2B5EF4-FFF2-40B4-BE49-F238E27FC236}">
                <a16:creationId xmlns:a16="http://schemas.microsoft.com/office/drawing/2014/main" id="{EACE880B-4E48-7C06-51C3-3CF74EE9F00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274" y="509668"/>
            <a:ext cx="9930063" cy="6206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5227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ộp Văn bản 3">
            <a:extLst>
              <a:ext uri="{FF2B5EF4-FFF2-40B4-BE49-F238E27FC236}">
                <a16:creationId xmlns:a16="http://schemas.microsoft.com/office/drawing/2014/main" id="{DCBA507A-CEF2-AA60-2DF0-66D95018F769}"/>
              </a:ext>
            </a:extLst>
          </p:cNvPr>
          <p:cNvSpPr txBox="1"/>
          <p:nvPr/>
        </p:nvSpPr>
        <p:spPr>
          <a:xfrm>
            <a:off x="451086" y="117132"/>
            <a:ext cx="6094520" cy="3942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FF0000"/>
                </a:solidFill>
              </a:rPr>
              <a:t>File detail - image</a:t>
            </a:r>
            <a:endParaRPr lang="en-US" dirty="0" err="1">
              <a:solidFill>
                <a:srgbClr val="FF0000"/>
              </a:solidFill>
            </a:endParaRPr>
          </a:p>
        </p:txBody>
      </p:sp>
      <p:pic>
        <p:nvPicPr>
          <p:cNvPr id="3" name="Hình ảnh 2" descr="Ảnh có chứa văn bản, ảnh chụp màn hình, phần mềm, Phần mềm đa phương tiện&#10;&#10;Mô tả được tạo tự động">
            <a:extLst>
              <a:ext uri="{FF2B5EF4-FFF2-40B4-BE49-F238E27FC236}">
                <a16:creationId xmlns:a16="http://schemas.microsoft.com/office/drawing/2014/main" id="{20444D12-2276-35E7-1F75-95B1CFB6B34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086" y="415685"/>
            <a:ext cx="10307705" cy="64423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6386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ộp Văn bản 3">
            <a:extLst>
              <a:ext uri="{FF2B5EF4-FFF2-40B4-BE49-F238E27FC236}">
                <a16:creationId xmlns:a16="http://schemas.microsoft.com/office/drawing/2014/main" id="{5EE68B7B-913C-6F39-1469-793DFECFBEC2}"/>
              </a:ext>
            </a:extLst>
          </p:cNvPr>
          <p:cNvSpPr txBox="1"/>
          <p:nvPr/>
        </p:nvSpPr>
        <p:spPr>
          <a:xfrm>
            <a:off x="153139" y="162440"/>
            <a:ext cx="6094520" cy="3942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FF0000"/>
                </a:solidFill>
              </a:rPr>
              <a:t>File detail - docs</a:t>
            </a:r>
            <a:endParaRPr lang="en-US" dirty="0" err="1">
              <a:solidFill>
                <a:srgbClr val="FF0000"/>
              </a:solidFill>
            </a:endParaRPr>
          </a:p>
        </p:txBody>
      </p:sp>
      <p:pic>
        <p:nvPicPr>
          <p:cNvPr id="3" name="Hình ảnh 2" descr="Ảnh có chứa văn bản, ảnh chụp màn hình, Website, Trang web&#10;&#10;Mô tả được tạo tự động">
            <a:extLst>
              <a:ext uri="{FF2B5EF4-FFF2-40B4-BE49-F238E27FC236}">
                <a16:creationId xmlns:a16="http://schemas.microsoft.com/office/drawing/2014/main" id="{0038254C-3CF4-13A2-67FC-C16D8ABB615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321" y="537369"/>
            <a:ext cx="10113011" cy="6320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329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6950BFC3-D8DA-4A85-94F7-54DA5524770B}">
      <p188:commentRel xmlns:p188="http://schemas.microsoft.com/office/powerpoint/2018/8/main" r:id="rId2"/>
    </p:ext>
  </p:extLs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ộp Văn bản 3">
            <a:extLst>
              <a:ext uri="{FF2B5EF4-FFF2-40B4-BE49-F238E27FC236}">
                <a16:creationId xmlns:a16="http://schemas.microsoft.com/office/drawing/2014/main" id="{3CC64351-3144-5D8F-2FB9-725064F25248}"/>
              </a:ext>
            </a:extLst>
          </p:cNvPr>
          <p:cNvSpPr txBox="1"/>
          <p:nvPr/>
        </p:nvSpPr>
        <p:spPr>
          <a:xfrm>
            <a:off x="135384" y="224584"/>
            <a:ext cx="6094520" cy="3942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FF0000"/>
                </a:solidFill>
              </a:rPr>
              <a:t>Share a folder</a:t>
            </a:r>
            <a:endParaRPr lang="en-US" dirty="0" err="1">
              <a:solidFill>
                <a:srgbClr val="FF0000"/>
              </a:solidFill>
            </a:endParaRPr>
          </a:p>
        </p:txBody>
      </p:sp>
      <p:pic>
        <p:nvPicPr>
          <p:cNvPr id="3" name="Hình ảnh 2" descr="Ảnh có chứa văn bản, phần mềm, Biểu tượng máy tính, Phần mềm đa phương tiện&#10;&#10;Mô tả được tạo tự động">
            <a:extLst>
              <a:ext uri="{FF2B5EF4-FFF2-40B4-BE49-F238E27FC236}">
                <a16:creationId xmlns:a16="http://schemas.microsoft.com/office/drawing/2014/main" id="{E000DB12-3685-5470-D525-760B9691F87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8802" y="652841"/>
            <a:ext cx="10411326" cy="6507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9553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ộp Văn bản 3">
            <a:extLst>
              <a:ext uri="{FF2B5EF4-FFF2-40B4-BE49-F238E27FC236}">
                <a16:creationId xmlns:a16="http://schemas.microsoft.com/office/drawing/2014/main" id="{3CC64351-3144-5D8F-2FB9-725064F25248}"/>
              </a:ext>
            </a:extLst>
          </p:cNvPr>
          <p:cNvSpPr txBox="1"/>
          <p:nvPr/>
        </p:nvSpPr>
        <p:spPr>
          <a:xfrm>
            <a:off x="-121290" y="160415"/>
            <a:ext cx="6094520" cy="3942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FF0000"/>
                </a:solidFill>
              </a:rPr>
              <a:t>Share with me</a:t>
            </a:r>
            <a:endParaRPr lang="en-US" dirty="0" err="1">
              <a:solidFill>
                <a:srgbClr val="FF0000"/>
              </a:solidFill>
            </a:endParaRPr>
          </a:p>
        </p:txBody>
      </p:sp>
      <p:pic>
        <p:nvPicPr>
          <p:cNvPr id="3" name="Hình ảnh 2" descr="Ảnh có chứa văn bản, ảnh chụp màn hình, phần mềm, Trang web&#10;&#10;Mô tả được tạo tự động">
            <a:extLst>
              <a:ext uri="{FF2B5EF4-FFF2-40B4-BE49-F238E27FC236}">
                <a16:creationId xmlns:a16="http://schemas.microsoft.com/office/drawing/2014/main" id="{2F7D85F5-3751-2542-5EDF-2E0A53FE1CE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3801" y="0"/>
            <a:ext cx="943220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9840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ộp Văn bản 3">
            <a:extLst>
              <a:ext uri="{FF2B5EF4-FFF2-40B4-BE49-F238E27FC236}">
                <a16:creationId xmlns:a16="http://schemas.microsoft.com/office/drawing/2014/main" id="{3CC64351-3144-5D8F-2FB9-725064F25248}"/>
              </a:ext>
            </a:extLst>
          </p:cNvPr>
          <p:cNvSpPr txBox="1"/>
          <p:nvPr/>
        </p:nvSpPr>
        <p:spPr>
          <a:xfrm>
            <a:off x="135384" y="224584"/>
            <a:ext cx="6094520" cy="3942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FF0000"/>
                </a:solidFill>
              </a:rPr>
              <a:t>Usage dashboard </a:t>
            </a:r>
            <a:endParaRPr lang="en-US" dirty="0" err="1">
              <a:solidFill>
                <a:srgbClr val="FF0000"/>
              </a:solidFill>
            </a:endParaRPr>
          </a:p>
        </p:txBody>
      </p:sp>
      <p:pic>
        <p:nvPicPr>
          <p:cNvPr id="3" name="Hình ảnh 2" descr="Ảnh có chứa văn bản, ảnh chụp màn hình, phần mềm, số&#10;&#10;Mô tả được tạo tự động">
            <a:extLst>
              <a:ext uri="{FF2B5EF4-FFF2-40B4-BE49-F238E27FC236}">
                <a16:creationId xmlns:a16="http://schemas.microsoft.com/office/drawing/2014/main" id="{61DE601F-EC3A-940C-4111-BA0354DB6B8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3307" y="0"/>
            <a:ext cx="5367381" cy="6996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840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ộp Văn bản 3">
            <a:extLst>
              <a:ext uri="{FF2B5EF4-FFF2-40B4-BE49-F238E27FC236}">
                <a16:creationId xmlns:a16="http://schemas.microsoft.com/office/drawing/2014/main" id="{3CC64351-3144-5D8F-2FB9-725064F25248}"/>
              </a:ext>
            </a:extLst>
          </p:cNvPr>
          <p:cNvSpPr txBox="1"/>
          <p:nvPr/>
        </p:nvSpPr>
        <p:spPr>
          <a:xfrm>
            <a:off x="135384" y="224584"/>
            <a:ext cx="6094520" cy="3942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FF0000"/>
                </a:solidFill>
              </a:rPr>
              <a:t>Account setting </a:t>
            </a:r>
            <a:endParaRPr lang="en-US" dirty="0" err="1">
              <a:solidFill>
                <a:srgbClr val="FF0000"/>
              </a:solidFill>
            </a:endParaRPr>
          </a:p>
        </p:txBody>
      </p:sp>
      <p:pic>
        <p:nvPicPr>
          <p:cNvPr id="7" name="Hình ảnh 6" descr="Ảnh có chứa văn bản, ảnh chụp màn hình, phần mềm, Biểu tượng máy tính&#10;&#10;Mô tả được tạo tự động">
            <a:extLst>
              <a:ext uri="{FF2B5EF4-FFF2-40B4-BE49-F238E27FC236}">
                <a16:creationId xmlns:a16="http://schemas.microsoft.com/office/drawing/2014/main" id="{196B639E-60DB-4AC9-6467-80E6C35AF9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5334" y="0"/>
            <a:ext cx="526133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8420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ộp Văn bản 3">
            <a:extLst>
              <a:ext uri="{FF2B5EF4-FFF2-40B4-BE49-F238E27FC236}">
                <a16:creationId xmlns:a16="http://schemas.microsoft.com/office/drawing/2014/main" id="{3CC64351-3144-5D8F-2FB9-725064F25248}"/>
              </a:ext>
            </a:extLst>
          </p:cNvPr>
          <p:cNvSpPr txBox="1"/>
          <p:nvPr/>
        </p:nvSpPr>
        <p:spPr>
          <a:xfrm>
            <a:off x="135384" y="224584"/>
            <a:ext cx="6094520" cy="3942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FF0000"/>
                </a:solidFill>
              </a:rPr>
              <a:t>Design DB </a:t>
            </a:r>
            <a:endParaRPr lang="en-US" dirty="0" err="1">
              <a:solidFill>
                <a:srgbClr val="FF0000"/>
              </a:solidFill>
            </a:endParaRPr>
          </a:p>
        </p:txBody>
      </p:sp>
      <p:pic>
        <p:nvPicPr>
          <p:cNvPr id="3" name="Hình ảnh 2">
            <a:extLst>
              <a:ext uri="{FF2B5EF4-FFF2-40B4-BE49-F238E27FC236}">
                <a16:creationId xmlns:a16="http://schemas.microsoft.com/office/drawing/2014/main" id="{B0F8A940-A9DA-83FB-B05A-472244B5DB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8444" y="954361"/>
            <a:ext cx="8535591" cy="5172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8893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Blurry close-up of people in a room&#10;&#10;Description automatically generated with low confidence">
            <a:extLst>
              <a:ext uri="{FF2B5EF4-FFF2-40B4-BE49-F238E27FC236}">
                <a16:creationId xmlns:a16="http://schemas.microsoft.com/office/drawing/2014/main" id="{6EFD7AD0-68E0-8E59-4AEA-D1B60E12CAB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3032F4F1-3FB0-23B8-1A5F-348E90DB401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/>
              <a:t>Quang Nguyen|  </a:t>
            </a:r>
            <a:r>
              <a:rPr lang="en-US"/>
              <a:t>29/05</a:t>
            </a:r>
            <a:endParaRPr lang="en-GB"/>
          </a:p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FB47277-216F-802E-6C6C-68C8BB1FEE6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D.A.M Design Subsystem</a:t>
            </a:r>
          </a:p>
        </p:txBody>
      </p:sp>
    </p:spTree>
    <p:extLst>
      <p:ext uri="{BB962C8B-B14F-4D97-AF65-F5344CB8AC3E}">
        <p14:creationId xmlns:p14="http://schemas.microsoft.com/office/powerpoint/2010/main" val="2583219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ộp Văn bản 3">
            <a:extLst>
              <a:ext uri="{FF2B5EF4-FFF2-40B4-BE49-F238E27FC236}">
                <a16:creationId xmlns:a16="http://schemas.microsoft.com/office/drawing/2014/main" id="{3CC64351-3144-5D8F-2FB9-725064F25248}"/>
              </a:ext>
            </a:extLst>
          </p:cNvPr>
          <p:cNvSpPr txBox="1"/>
          <p:nvPr/>
        </p:nvSpPr>
        <p:spPr>
          <a:xfrm>
            <a:off x="135384" y="224584"/>
            <a:ext cx="6094520" cy="3942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FF0000"/>
                </a:solidFill>
              </a:rPr>
              <a:t>Design DB Home Page  </a:t>
            </a:r>
            <a:endParaRPr lang="en-US" dirty="0" err="1">
              <a:solidFill>
                <a:srgbClr val="FF0000"/>
              </a:solidFill>
            </a:endParaRPr>
          </a:p>
        </p:txBody>
      </p:sp>
      <p:pic>
        <p:nvPicPr>
          <p:cNvPr id="3" name="Hình ảnh 2" descr="Ảnh có chứa biểu đồ, Kế hoạch, Bản vẽ kỹ thuật, sơ đồ&#10;&#10;Mô tả được tạo tự động">
            <a:extLst>
              <a:ext uri="{FF2B5EF4-FFF2-40B4-BE49-F238E27FC236}">
                <a16:creationId xmlns:a16="http://schemas.microsoft.com/office/drawing/2014/main" id="{ED7F7C7C-9435-FF00-0C37-D34902B58CB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805" y="818267"/>
            <a:ext cx="9942195" cy="5422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7306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ộp Văn bản 3">
            <a:extLst>
              <a:ext uri="{FF2B5EF4-FFF2-40B4-BE49-F238E27FC236}">
                <a16:creationId xmlns:a16="http://schemas.microsoft.com/office/drawing/2014/main" id="{3CC64351-3144-5D8F-2FB9-725064F25248}"/>
              </a:ext>
            </a:extLst>
          </p:cNvPr>
          <p:cNvSpPr txBox="1"/>
          <p:nvPr/>
        </p:nvSpPr>
        <p:spPr>
          <a:xfrm>
            <a:off x="297944" y="233154"/>
            <a:ext cx="6094520" cy="3942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FF0000"/>
                </a:solidFill>
              </a:rPr>
              <a:t>Design DB File Detail</a:t>
            </a:r>
            <a:endParaRPr lang="en-US" dirty="0" err="1">
              <a:solidFill>
                <a:srgbClr val="FF0000"/>
              </a:solidFill>
            </a:endParaRPr>
          </a:p>
        </p:txBody>
      </p:sp>
      <p:pic>
        <p:nvPicPr>
          <p:cNvPr id="8" name="Hình ảnh 7" descr="Ảnh có chứa văn bản, biểu đồ, Song song, Bản vẽ kỹ thuật&#10;&#10;Mô tả được tạo tự động">
            <a:extLst>
              <a:ext uri="{FF2B5EF4-FFF2-40B4-BE49-F238E27FC236}">
                <a16:creationId xmlns:a16="http://schemas.microsoft.com/office/drawing/2014/main" id="{6482F63C-A43D-417F-0D6C-ACD7CFAD436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7997" y="176883"/>
            <a:ext cx="6390323" cy="65042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5182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ộp Văn bản 3">
            <a:extLst>
              <a:ext uri="{FF2B5EF4-FFF2-40B4-BE49-F238E27FC236}">
                <a16:creationId xmlns:a16="http://schemas.microsoft.com/office/drawing/2014/main" id="{3CC64351-3144-5D8F-2FB9-725064F25248}"/>
              </a:ext>
            </a:extLst>
          </p:cNvPr>
          <p:cNvSpPr txBox="1"/>
          <p:nvPr/>
        </p:nvSpPr>
        <p:spPr>
          <a:xfrm>
            <a:off x="135384" y="224584"/>
            <a:ext cx="6094520" cy="3942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FF0000"/>
                </a:solidFill>
              </a:rPr>
              <a:t>DB design dashboard </a:t>
            </a:r>
            <a:endParaRPr lang="en-US" dirty="0" err="1">
              <a:solidFill>
                <a:srgbClr val="FF0000"/>
              </a:solidFill>
            </a:endParaRPr>
          </a:p>
        </p:txBody>
      </p:sp>
      <p:pic>
        <p:nvPicPr>
          <p:cNvPr id="5" name="Hình ảnh 4" descr="Ảnh có chứa biểu đồ, Kế hoạch, Bản vẽ kỹ thuật, sơ đồ&#10;&#10;Mô tả được tạo tự động">
            <a:extLst>
              <a:ext uri="{FF2B5EF4-FFF2-40B4-BE49-F238E27FC236}">
                <a16:creationId xmlns:a16="http://schemas.microsoft.com/office/drawing/2014/main" id="{C7922F16-B22B-A61B-A0CB-8B2765FB214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5956" y="111436"/>
            <a:ext cx="8867775" cy="640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5739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ộp Văn bản 3">
            <a:extLst>
              <a:ext uri="{FF2B5EF4-FFF2-40B4-BE49-F238E27FC236}">
                <a16:creationId xmlns:a16="http://schemas.microsoft.com/office/drawing/2014/main" id="{3CC64351-3144-5D8F-2FB9-725064F25248}"/>
              </a:ext>
            </a:extLst>
          </p:cNvPr>
          <p:cNvSpPr txBox="1"/>
          <p:nvPr/>
        </p:nvSpPr>
        <p:spPr>
          <a:xfrm>
            <a:off x="135384" y="224584"/>
            <a:ext cx="6094520" cy="3942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FF0000"/>
                </a:solidFill>
              </a:rPr>
              <a:t>DB design Sharing </a:t>
            </a:r>
            <a:endParaRPr lang="en-US" dirty="0" err="1">
              <a:solidFill>
                <a:srgbClr val="FF0000"/>
              </a:solidFill>
            </a:endParaRPr>
          </a:p>
        </p:txBody>
      </p:sp>
      <p:pic>
        <p:nvPicPr>
          <p:cNvPr id="3" name="Hình ảnh 2" descr="Ảnh có chứa văn bản, biểu đồ, hàng, Song song&#10;&#10;Mô tả được tạo tự động">
            <a:extLst>
              <a:ext uri="{FF2B5EF4-FFF2-40B4-BE49-F238E27FC236}">
                <a16:creationId xmlns:a16="http://schemas.microsoft.com/office/drawing/2014/main" id="{12F57944-492E-31EC-75A2-6958C46FC6C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8722" y="752475"/>
            <a:ext cx="5629275" cy="535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9718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4A37ADCE-579E-A179-EA5A-5FE167B559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4A37ADCE-579E-A179-EA5A-5FE167B55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783E0025-3EB6-8A32-504E-6433F1207F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7519" y="2942186"/>
            <a:ext cx="4749601" cy="973627"/>
          </a:xfrm>
        </p:spPr>
        <p:txBody>
          <a:bodyPr/>
          <a:lstStyle/>
          <a:p>
            <a:r>
              <a:rPr lang="en-GB"/>
              <a:t>DO YOU HAVE ANY QUESTIONS FOR ME ?</a:t>
            </a:r>
            <a:endParaRPr lang="en-GB" noProof="0"/>
          </a:p>
        </p:txBody>
      </p:sp>
      <p:pic>
        <p:nvPicPr>
          <p:cNvPr id="1026" name="Picture 2" descr="Q&amp;A - STM – Sea Traffic Management">
            <a:extLst>
              <a:ext uri="{FF2B5EF4-FFF2-40B4-BE49-F238E27FC236}">
                <a16:creationId xmlns:a16="http://schemas.microsoft.com/office/drawing/2014/main" id="{20630E9C-9D71-C9DC-E5DE-2AB6559BFF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2687" y="1513841"/>
            <a:ext cx="8059313" cy="5201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7939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4A37ADCE-579E-A179-EA5A-5FE167B559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4A37ADCE-579E-A179-EA5A-5FE167B55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A1D1FF9-CAD7-2AAE-1CC6-BD9691BDC8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/>
              <a:t>Mind map </a:t>
            </a:r>
          </a:p>
          <a:p>
            <a:r>
              <a:rPr lang="en-GB" noProof="0"/>
              <a:t>Use-case</a:t>
            </a:r>
          </a:p>
          <a:p>
            <a:r>
              <a:rPr lang="en-GB"/>
              <a:t>UI/UX OF DAM Subsystem</a:t>
            </a:r>
          </a:p>
          <a:p>
            <a:r>
              <a:rPr lang="en-GB" noProof="0"/>
              <a:t>Database design</a:t>
            </a:r>
          </a:p>
          <a:p>
            <a:r>
              <a:rPr lang="en-GB"/>
              <a:t>Q&amp;A</a:t>
            </a:r>
            <a:endParaRPr lang="en-GB" noProof="0"/>
          </a:p>
          <a:p>
            <a:pPr marL="0" indent="0">
              <a:buNone/>
            </a:pPr>
            <a:endParaRPr lang="en-GB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83E0025-3EB6-8A32-504E-6433F1207F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Agenda</a:t>
            </a:r>
          </a:p>
        </p:txBody>
      </p:sp>
      <p:pic>
        <p:nvPicPr>
          <p:cNvPr id="6" name="Picture Placeholder 5" descr="A close-up of a logo&#10;&#10;Description automatically generated with medium confidence">
            <a:extLst>
              <a:ext uri="{FF2B5EF4-FFF2-40B4-BE49-F238E27FC236}">
                <a16:creationId xmlns:a16="http://schemas.microsoft.com/office/drawing/2014/main" id="{808F957D-DEC6-8419-3774-FAFBCF98606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91" r="1469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378216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ộp Văn bản 2">
            <a:extLst>
              <a:ext uri="{FF2B5EF4-FFF2-40B4-BE49-F238E27FC236}">
                <a16:creationId xmlns:a16="http://schemas.microsoft.com/office/drawing/2014/main" id="{AF52A0CB-C3A5-BE6F-B4C3-6F15D65F1968}"/>
              </a:ext>
            </a:extLst>
          </p:cNvPr>
          <p:cNvSpPr txBox="1"/>
          <p:nvPr/>
        </p:nvSpPr>
        <p:spPr>
          <a:xfrm>
            <a:off x="108012" y="197951"/>
            <a:ext cx="6094520" cy="12128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FF0000"/>
                </a:solidFill>
              </a:rPr>
              <a:t>Mind map</a:t>
            </a:r>
          </a:p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FF0000"/>
                </a:solidFill>
              </a:rPr>
              <a:t>MentorHub</a:t>
            </a:r>
          </a:p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endParaRPr lang="en-US" dirty="0" err="1">
              <a:solidFill>
                <a:srgbClr val="FF0000"/>
              </a:solidFill>
            </a:endParaRPr>
          </a:p>
        </p:txBody>
      </p:sp>
      <p:pic>
        <p:nvPicPr>
          <p:cNvPr id="4" name="Hình ảnh 3">
            <a:extLst>
              <a:ext uri="{FF2B5EF4-FFF2-40B4-BE49-F238E27FC236}">
                <a16:creationId xmlns:a16="http://schemas.microsoft.com/office/drawing/2014/main" id="{3BD6368C-5805-56B5-8EF7-C300B0F67A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87889" y="1281604"/>
            <a:ext cx="8816222" cy="4294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6429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ộp Văn bản 2">
            <a:extLst>
              <a:ext uri="{FF2B5EF4-FFF2-40B4-BE49-F238E27FC236}">
                <a16:creationId xmlns:a16="http://schemas.microsoft.com/office/drawing/2014/main" id="{AF52A0CB-C3A5-BE6F-B4C3-6F15D65F1968}"/>
              </a:ext>
            </a:extLst>
          </p:cNvPr>
          <p:cNvSpPr txBox="1"/>
          <p:nvPr/>
        </p:nvSpPr>
        <p:spPr>
          <a:xfrm>
            <a:off x="108012" y="197951"/>
            <a:ext cx="6094520" cy="12128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FF0000"/>
                </a:solidFill>
              </a:rPr>
              <a:t>Mind map</a:t>
            </a:r>
          </a:p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FF0000"/>
                </a:solidFill>
              </a:rPr>
              <a:t>DAM Subsystem</a:t>
            </a:r>
          </a:p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endParaRPr lang="en-US" dirty="0" err="1">
              <a:solidFill>
                <a:srgbClr val="FF0000"/>
              </a:solidFill>
            </a:endParaRPr>
          </a:p>
        </p:txBody>
      </p:sp>
      <p:pic>
        <p:nvPicPr>
          <p:cNvPr id="4" name="Hình ảnh 3">
            <a:extLst>
              <a:ext uri="{FF2B5EF4-FFF2-40B4-BE49-F238E27FC236}">
                <a16:creationId xmlns:a16="http://schemas.microsoft.com/office/drawing/2014/main" id="{EA293964-89E1-D595-B29C-498C25B87BB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4571" y="1525357"/>
            <a:ext cx="10802858" cy="5134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0917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ộp Văn bản 3">
            <a:extLst>
              <a:ext uri="{FF2B5EF4-FFF2-40B4-BE49-F238E27FC236}">
                <a16:creationId xmlns:a16="http://schemas.microsoft.com/office/drawing/2014/main" id="{CEC5DC7C-57E6-0345-8D75-AF6418DCC04C}"/>
              </a:ext>
            </a:extLst>
          </p:cNvPr>
          <p:cNvSpPr txBox="1"/>
          <p:nvPr/>
        </p:nvSpPr>
        <p:spPr>
          <a:xfrm>
            <a:off x="194867" y="229514"/>
            <a:ext cx="6094520" cy="3942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FF0000"/>
                </a:solidFill>
              </a:rPr>
              <a:t>Use-case</a:t>
            </a:r>
            <a:endParaRPr lang="en-US" dirty="0" err="1">
              <a:solidFill>
                <a:srgbClr val="FF0000"/>
              </a:solidFill>
            </a:endParaRPr>
          </a:p>
        </p:txBody>
      </p:sp>
      <p:pic>
        <p:nvPicPr>
          <p:cNvPr id="5" name="Hình ảnh 4" descr="Ảnh có chứa biểu đồ, hàng, văn bản, Song song&#10;&#10;Mô tả được tạo tự động">
            <a:extLst>
              <a:ext uri="{FF2B5EF4-FFF2-40B4-BE49-F238E27FC236}">
                <a16:creationId xmlns:a16="http://schemas.microsoft.com/office/drawing/2014/main" id="{851BFD03-A5EC-33C6-6553-FC5D380818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155" y="623724"/>
            <a:ext cx="4533900" cy="5915025"/>
          </a:xfrm>
          <a:prstGeom prst="rect">
            <a:avLst/>
          </a:prstGeom>
        </p:spPr>
      </p:pic>
      <p:pic>
        <p:nvPicPr>
          <p:cNvPr id="10" name="Hình ảnh 9" descr="Ảnh có chứa văn bản, biểu đồ, hàng, Song song&#10;&#10;Mô tả được tạo tự động">
            <a:extLst>
              <a:ext uri="{FF2B5EF4-FFF2-40B4-BE49-F238E27FC236}">
                <a16:creationId xmlns:a16="http://schemas.microsoft.com/office/drawing/2014/main" id="{2B1D0325-B0EF-C9FE-39A8-CA14A56A084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3343" y="623724"/>
            <a:ext cx="4274535" cy="5915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9779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ộp Văn bản 1">
            <a:extLst>
              <a:ext uri="{FF2B5EF4-FFF2-40B4-BE49-F238E27FC236}">
                <a16:creationId xmlns:a16="http://schemas.microsoft.com/office/drawing/2014/main" id="{350380FF-5099-2115-C889-6EFDEB2AAB65}"/>
              </a:ext>
            </a:extLst>
          </p:cNvPr>
          <p:cNvSpPr txBox="1"/>
          <p:nvPr/>
        </p:nvSpPr>
        <p:spPr>
          <a:xfrm>
            <a:off x="346229" y="142043"/>
            <a:ext cx="2201662" cy="59480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FF0000"/>
                </a:solidFill>
              </a:rPr>
              <a:t>Home page</a:t>
            </a:r>
            <a:endParaRPr lang="en-US" dirty="0" err="1">
              <a:solidFill>
                <a:srgbClr val="FF0000"/>
              </a:solidFill>
            </a:endParaRPr>
          </a:p>
        </p:txBody>
      </p:sp>
      <p:pic>
        <p:nvPicPr>
          <p:cNvPr id="5" name="Hình ảnh 4" descr="Ảnh có chứa văn bản, ảnh chụp màn hình, phần mềm, Website&#10;&#10;Mô tả được tạo tự động">
            <a:extLst>
              <a:ext uri="{FF2B5EF4-FFF2-40B4-BE49-F238E27FC236}">
                <a16:creationId xmlns:a16="http://schemas.microsoft.com/office/drawing/2014/main" id="{00ED5631-45E9-0DE1-E0F9-AAF10BC6677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4803" y="0"/>
            <a:ext cx="7232544" cy="6755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4753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ộp Văn bản 1">
            <a:extLst>
              <a:ext uri="{FF2B5EF4-FFF2-40B4-BE49-F238E27FC236}">
                <a16:creationId xmlns:a16="http://schemas.microsoft.com/office/drawing/2014/main" id="{8585562C-3A85-810A-1ABD-F8E88A9846F1}"/>
              </a:ext>
            </a:extLst>
          </p:cNvPr>
          <p:cNvSpPr txBox="1"/>
          <p:nvPr/>
        </p:nvSpPr>
        <p:spPr>
          <a:xfrm>
            <a:off x="496059" y="77738"/>
            <a:ext cx="2696320" cy="59480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FF0000"/>
                </a:solidFill>
              </a:rPr>
              <a:t>Home page – Grid view</a:t>
            </a:r>
          </a:p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endParaRPr lang="en-US" dirty="0" err="1">
              <a:solidFill>
                <a:srgbClr val="FF0000"/>
              </a:solidFill>
            </a:endParaRPr>
          </a:p>
        </p:txBody>
      </p:sp>
      <p:pic>
        <p:nvPicPr>
          <p:cNvPr id="4" name="Hình ảnh 3" descr="Ảnh có chứa văn bản, ảnh chụp màn hình, phần mềm, Website&#10;&#10;Mô tả được tạo tự động">
            <a:extLst>
              <a:ext uri="{FF2B5EF4-FFF2-40B4-BE49-F238E27FC236}">
                <a16:creationId xmlns:a16="http://schemas.microsoft.com/office/drawing/2014/main" id="{E0A6CAD8-34D8-781B-8456-2AC9D83309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9706" y="594804"/>
            <a:ext cx="9896733" cy="61854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9071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ộp Văn bản 3">
            <a:extLst>
              <a:ext uri="{FF2B5EF4-FFF2-40B4-BE49-F238E27FC236}">
                <a16:creationId xmlns:a16="http://schemas.microsoft.com/office/drawing/2014/main" id="{3CC64351-3144-5D8F-2FB9-725064F25248}"/>
              </a:ext>
            </a:extLst>
          </p:cNvPr>
          <p:cNvSpPr txBox="1"/>
          <p:nvPr/>
        </p:nvSpPr>
        <p:spPr>
          <a:xfrm>
            <a:off x="135384" y="224584"/>
            <a:ext cx="6094520" cy="3942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>
                <a:solidFill>
                  <a:srgbClr val="FF0000"/>
                </a:solidFill>
              </a:rPr>
              <a:t>Upload file</a:t>
            </a:r>
            <a:endParaRPr lang="en-US" dirty="0" err="1">
              <a:solidFill>
                <a:srgbClr val="FF0000"/>
              </a:solidFill>
            </a:endParaRPr>
          </a:p>
        </p:txBody>
      </p:sp>
      <p:pic>
        <p:nvPicPr>
          <p:cNvPr id="3" name="Hình ảnh 2" descr="Ảnh có chứa văn bản, phần mềm, Biểu tượng máy tính, Trang web&#10;&#10;Mô tả được tạo tự động">
            <a:extLst>
              <a:ext uri="{FF2B5EF4-FFF2-40B4-BE49-F238E27FC236}">
                <a16:creationId xmlns:a16="http://schemas.microsoft.com/office/drawing/2014/main" id="{82B61AC6-CF8D-5165-9519-89EB5064C8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4015" y="618794"/>
            <a:ext cx="9723970" cy="6077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2239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l" rtl="0">
          <a:spcAft>
            <a:spcPts val="600"/>
          </a:spcAft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85750" indent="-285750" algn="l" rtl="0">
          <a:lnSpc>
            <a:spcPct val="120000"/>
          </a:lnSpc>
          <a:spcAft>
            <a:spcPts val="600"/>
          </a:spcAft>
          <a:buClr>
            <a:schemeClr val="tx1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Custom Color 1">
      <a:srgbClr val="005194"/>
    </a:custClr>
    <a:custClr name="Custom Color 2">
      <a:srgbClr val="3374A9"/>
    </a:custClr>
    <a:custClr name="Custom Color 3">
      <a:srgbClr val="6697BF"/>
    </a:custClr>
    <a:custClr name="Custom Color 4">
      <a:srgbClr val="99B9D4"/>
    </a:custClr>
    <a:custClr name="BLANK">
      <a:srgbClr val="FFFFFF"/>
    </a:custClr>
    <a:custClr name="BLANK">
      <a:srgbClr val="FFFFFF"/>
    </a:custClr>
    <a:custClr name="Custom Color 7">
      <a:srgbClr val="F39800"/>
    </a:custClr>
    <a:custClr name="Custom Color 8">
      <a:srgbClr val="F5AD33"/>
    </a:custClr>
    <a:custClr name="Custom Color 9">
      <a:srgbClr val="F8C166"/>
    </a:custClr>
    <a:custClr name="Custom Color 10">
      <a:srgbClr val="FAD699"/>
    </a:custClr>
    <a:custClr name="Custom Color 11">
      <a:srgbClr val="005D39"/>
    </a:custClr>
    <a:custClr name="Custom Color 12">
      <a:srgbClr val="337D61"/>
    </a:custClr>
    <a:custClr name="Custom Color 13">
      <a:srgbClr val="669E88"/>
    </a:custClr>
    <a:custClr name="Custom Color 14">
      <a:srgbClr val="99BEB0"/>
    </a:custClr>
    <a:custClr name="BLANK">
      <a:srgbClr val="FFFFFF"/>
    </a:custClr>
    <a:custClr name="BLANK">
      <a:srgbClr val="FFFFFF"/>
    </a:custClr>
    <a:custClr name="Custom Color 17">
      <a:srgbClr val="5C154F"/>
    </a:custClr>
    <a:custClr name="Custom Color 18">
      <a:srgbClr val="7D4472"/>
    </a:custClr>
    <a:custClr name="Custom Color 19">
      <a:srgbClr val="9D7395"/>
    </a:custClr>
    <a:custClr name="Custom Color 20">
      <a:srgbClr val="BEA1B9"/>
    </a:custClr>
  </a:custClrLst>
  <a:extLst>
    <a:ext uri="{05A4C25C-085E-4340-85A3-A5531E510DB2}">
      <thm15:themeFamily xmlns:thm15="http://schemas.microsoft.com/office/thememl/2012/main" name="bbv template EN.potx" id="{9D85BB11-82AC-40C5-AB89-10825A534299}" vid="{E763B3D4-954F-486E-818A-38174629068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89D6FEC8D34D4D9510463D759DD364" ma:contentTypeVersion="18" ma:contentTypeDescription="Create a new document." ma:contentTypeScope="" ma:versionID="3554442a8ab4924b11751f96199d6255">
  <xsd:schema xmlns:xsd="http://www.w3.org/2001/XMLSchema" xmlns:xs="http://www.w3.org/2001/XMLSchema" xmlns:p="http://schemas.microsoft.com/office/2006/metadata/properties" xmlns:ns2="680405e6-b67e-4188-afe9-1f6c4cc802d0" xmlns:ns3="5a0a5fd8-e554-4dec-ae9e-1a78583e7e41" targetNamespace="http://schemas.microsoft.com/office/2006/metadata/properties" ma:root="true" ma:fieldsID="61344ac0bc709610c06f61e2d106e724" ns2:_="" ns3:_="">
    <xsd:import namespace="680405e6-b67e-4188-afe9-1f6c4cc802d0"/>
    <xsd:import namespace="5a0a5fd8-e554-4dec-ae9e-1a78583e7e4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SearchProperties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0405e6-b67e-4188-afe9-1f6c4cc802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6bb97658-b20a-4042-a651-e28394847b4b}" ma:internalName="TaxCatchAll" ma:showField="CatchAllData" ma:web="680405e6-b67e-4188-afe9-1f6c4cc802d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0a5fd8-e554-4dec-ae9e-1a78583e7e4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ac9124cb-9502-46c0-8e39-0e7eaae6555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a0a5fd8-e554-4dec-ae9e-1a78583e7e41">
      <Terms xmlns="http://schemas.microsoft.com/office/infopath/2007/PartnerControls"/>
    </lcf76f155ced4ddcb4097134ff3c332f>
    <TaxCatchAll xmlns="680405e6-b67e-4188-afe9-1f6c4cc802d0" xsi:nil="true"/>
  </documentManagement>
</p:properties>
</file>

<file path=customXml/itemProps1.xml><?xml version="1.0" encoding="utf-8"?>
<ds:datastoreItem xmlns:ds="http://schemas.openxmlformats.org/officeDocument/2006/customXml" ds:itemID="{39B8CF79-7ADA-435D-8DBA-60E58E5DFFB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80405e6-b67e-4188-afe9-1f6c4cc802d0"/>
    <ds:schemaRef ds:uri="5a0a5fd8-e554-4dec-ae9e-1a78583e7e4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3CB484D-016C-43DE-886B-249507DD658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B0F42E2-0E6A-4852-8EA1-9F7D6F366003}">
  <ds:schemaRefs>
    <ds:schemaRef ds:uri="http://schemas.microsoft.com/office/2006/documentManagement/types"/>
    <ds:schemaRef ds:uri="http://www.w3.org/XML/1998/namespace"/>
    <ds:schemaRef ds:uri="http://schemas.microsoft.com/office/2006/metadata/properties"/>
    <ds:schemaRef ds:uri="680405e6-b67e-4188-afe9-1f6c4cc802d0"/>
    <ds:schemaRef ds:uri="http://purl.org/dc/elements/1.1/"/>
    <ds:schemaRef ds:uri="http://purl.org/dc/dcmitype/"/>
    <ds:schemaRef ds:uri="http://purl.org/dc/terms/"/>
    <ds:schemaRef ds:uri="5a0a5fd8-e554-4dec-ae9e-1a78583e7e41"/>
    <ds:schemaRef ds:uri="http://schemas.microsoft.com/office/infopath/2007/PartnerControls"/>
    <ds:schemaRef ds:uri="http://schemas.openxmlformats.org/package/2006/metadata/core-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bv template EN</Template>
  <TotalTime>4242</TotalTime>
  <Words>99</Words>
  <Application>Microsoft Office PowerPoint</Application>
  <PresentationFormat>Màn hình rộng</PresentationFormat>
  <Paragraphs>37</Paragraphs>
  <Slides>24</Slides>
  <Notes>5</Notes>
  <HiddenSlides>0</HiddenSlides>
  <MMClips>0</MMClips>
  <ScaleCrop>false</ScaleCrop>
  <HeadingPairs>
    <vt:vector size="8" baseType="variant">
      <vt:variant>
        <vt:lpstr>Phông được Dùng</vt:lpstr>
      </vt:variant>
      <vt:variant>
        <vt:i4>2</vt:i4>
      </vt:variant>
      <vt:variant>
        <vt:lpstr>Chủ đề</vt:lpstr>
      </vt:variant>
      <vt:variant>
        <vt:i4>1</vt:i4>
      </vt:variant>
      <vt:variant>
        <vt:lpstr>Máy chủ nhúng OLE</vt:lpstr>
      </vt:variant>
      <vt:variant>
        <vt:i4>1</vt:i4>
      </vt:variant>
      <vt:variant>
        <vt:lpstr>Tiêu đề Bản chiếu</vt:lpstr>
      </vt:variant>
      <vt:variant>
        <vt:i4>24</vt:i4>
      </vt:variant>
    </vt:vector>
  </HeadingPairs>
  <TitlesOfParts>
    <vt:vector size="28" baseType="lpstr">
      <vt:lpstr>Arial</vt:lpstr>
      <vt:lpstr>Calibri</vt:lpstr>
      <vt:lpstr>bbv template EN</vt:lpstr>
      <vt:lpstr>think-cell Slide</vt:lpstr>
      <vt:lpstr>Bản trình bày PowerPoint</vt:lpstr>
      <vt:lpstr>D.A.M Design Subsystem</vt:lpstr>
      <vt:lpstr>Agenda</vt:lpstr>
      <vt:lpstr>Bản trình bày PowerPoint</vt:lpstr>
      <vt:lpstr>Bản trình bày PowerPoint</vt:lpstr>
      <vt:lpstr>Bản trình bày PowerPoint</vt:lpstr>
      <vt:lpstr>Bản trình bày PowerPoint</vt:lpstr>
      <vt:lpstr>Bản trình bày PowerPoint</vt:lpstr>
      <vt:lpstr>Bản trình bày PowerPoint</vt:lpstr>
      <vt:lpstr>Bản trình bày PowerPoint</vt:lpstr>
      <vt:lpstr>Bản trình bày PowerPoint</vt:lpstr>
      <vt:lpstr>Bản trình bày PowerPoint</vt:lpstr>
      <vt:lpstr>Bản trình bày PowerPoint</vt:lpstr>
      <vt:lpstr>Bản trình bày PowerPoint</vt:lpstr>
      <vt:lpstr>Bản trình bày PowerPoint</vt:lpstr>
      <vt:lpstr>Bản trình bày PowerPoint</vt:lpstr>
      <vt:lpstr>Bản trình bày PowerPoint</vt:lpstr>
      <vt:lpstr>Bản trình bày PowerPoint</vt:lpstr>
      <vt:lpstr>Bản trình bày PowerPoint</vt:lpstr>
      <vt:lpstr>Bản trình bày PowerPoint</vt:lpstr>
      <vt:lpstr>Bản trình bày PowerPoint</vt:lpstr>
      <vt:lpstr>Bản trình bày PowerPoint</vt:lpstr>
      <vt:lpstr>Bản trình bày PowerPoint</vt:lpstr>
      <vt:lpstr>DO YOU HAVE ANY QUESTIONS FOR ME 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bv Vietnam Presentation</dc:title>
  <dc:creator>Duong Trung Luu</dc:creator>
  <cp:lastModifiedBy>Nguyen Quang</cp:lastModifiedBy>
  <cp:revision>47</cp:revision>
  <dcterms:created xsi:type="dcterms:W3CDTF">2023-03-02T06:20:39Z</dcterms:created>
  <dcterms:modified xsi:type="dcterms:W3CDTF">2024-07-02T09:43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89D6FEC8D34D4D9510463D759DD364</vt:lpwstr>
  </property>
  <property fmtid="{D5CDD505-2E9C-101B-9397-08002B2CF9AE}" pid="3" name="MediaServiceImageTags">
    <vt:lpwstr/>
  </property>
</Properties>
</file>